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A8A8A8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9:59.625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19:59.625" v="5" actId="27918"/>
        <pc:sldMkLst>
          <pc:docMk/>
          <pc:sldMk cId="3613367002" sldId="40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ésultat du groupe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45.66372648999999</c:v>
                </c:pt>
                <c:pt idx="1">
                  <c:v>380.637372325878</c:v>
                </c:pt>
                <c:pt idx="2">
                  <c:v>398.95878820453299</c:v>
                </c:pt>
                <c:pt idx="3">
                  <c:v>568.40585356027998</c:v>
                </c:pt>
                <c:pt idx="4">
                  <c:v>463.48435327405701</c:v>
                </c:pt>
                <c:pt idx="5">
                  <c:v>-617.01844565235501</c:v>
                </c:pt>
                <c:pt idx="6">
                  <c:v>-325.330509616754</c:v>
                </c:pt>
                <c:pt idx="7">
                  <c:v>-245.36702553034399</c:v>
                </c:pt>
                <c:pt idx="8">
                  <c:v>266.53405112842398</c:v>
                </c:pt>
                <c:pt idx="9">
                  <c:v>275.00206181303503</c:v>
                </c:pt>
                <c:pt idx="10">
                  <c:v>495.57888916518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545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50230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M CHF</a:t>
          </a:r>
          <a:endParaRPr lang="de-CH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Résultat du groupe CFF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189271819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60703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7A5CE34-ACCE-4C83-8C89-2D5F3EE53A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ésultat du groupe CFF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sultat du groupe CFF.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